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868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avidez, Brandi" initials="BB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E497"/>
    <a:srgbClr val="A2DE92"/>
    <a:srgbClr val="A8E496"/>
    <a:srgbClr val="9ED19E"/>
    <a:srgbClr val="86D174"/>
    <a:srgbClr val="FFF0D9"/>
    <a:srgbClr val="88A920"/>
    <a:srgbClr val="E1ECFF"/>
    <a:srgbClr val="F3F8FF"/>
    <a:srgbClr val="E7F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90" autoAdjust="0"/>
    <p:restoredTop sz="96000" autoAdjust="0"/>
  </p:normalViewPr>
  <p:slideViewPr>
    <p:cSldViewPr showGuides="1">
      <p:cViewPr>
        <p:scale>
          <a:sx n="180" d="100"/>
          <a:sy n="180" d="100"/>
        </p:scale>
        <p:origin x="739" y="240"/>
      </p:cViewPr>
      <p:guideLst>
        <p:guide orient="horz" pos="2160"/>
        <p:guide pos="3840"/>
        <p:guide orient="horz" pos="5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1024"/>
    </p:cViewPr>
  </p:sorterViewPr>
  <p:notesViewPr>
    <p:cSldViewPr showGuides="1">
      <p:cViewPr varScale="1">
        <p:scale>
          <a:sx n="83" d="100"/>
          <a:sy n="83" d="100"/>
        </p:scale>
        <p:origin x="278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106DC0-8C51-4163-AA34-F3D9AA192B0F}" type="datetimeFigureOut">
              <a:rPr lang="en-US" smtClean="0"/>
              <a:t>7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0609C-A282-4A80-83DC-0D3EABDB74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7676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ED97BA-13F7-4748-A5AE-C898927CED76}" type="datetimeFigureOut">
              <a:rPr lang="en-US" smtClean="0"/>
              <a:t>7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426FB1-3AB0-4AFE-AF64-20CFD1566F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80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426FB1-3AB0-4AFE-AF64-20CFD1566FD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081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3018971"/>
            <a:ext cx="9144000" cy="1212352"/>
          </a:xfrm>
        </p:spPr>
        <p:txBody>
          <a:bodyPr anchor="b">
            <a:noAutofit/>
          </a:bodyPr>
          <a:lstStyle>
            <a:lvl1pPr algn="ctr">
              <a:defRPr sz="5300">
                <a:solidFill>
                  <a:schemeClr val="bg1"/>
                </a:solidFill>
                <a:latin typeface="PayPal Sans Big Thin" panose="020B040304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552950"/>
            <a:ext cx="9144000" cy="384048"/>
          </a:xfrm>
        </p:spPr>
        <p:txBody>
          <a:bodyPr tIns="0" rIns="0" bIns="0">
            <a:noAutofit/>
          </a:bodyPr>
          <a:lstStyle>
            <a:lvl1pPr marL="0" indent="0" algn="ctr">
              <a:buNone/>
              <a:defRPr sz="2400" baseline="0">
                <a:solidFill>
                  <a:schemeClr val="bg1">
                    <a:alpha val="6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46850"/>
            <a:ext cx="4114800" cy="120650"/>
          </a:xfrm>
        </p:spPr>
        <p:txBody>
          <a:bodyPr/>
          <a:lstStyle>
            <a:lvl1pPr algn="ctr">
              <a:defRPr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4962525"/>
            <a:ext cx="9144000" cy="485775"/>
          </a:xfr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600" kern="1200" baseline="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Presenter/Dat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666611" y="1914525"/>
            <a:ext cx="870431" cy="1019175"/>
            <a:chOff x="6589712" y="1914525"/>
            <a:chExt cx="870431" cy="1019175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6589712" y="1914525"/>
              <a:ext cx="870431" cy="1019175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34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3238" y="1703389"/>
            <a:ext cx="10844212" cy="1674811"/>
          </a:xfrm>
        </p:spPr>
        <p:txBody>
          <a:bodyPr anchor="b">
            <a:normAutofit/>
          </a:bodyPr>
          <a:lstStyle>
            <a:lvl1pPr>
              <a:defRPr sz="3700" spc="300">
                <a:solidFill>
                  <a:schemeClr val="bg1"/>
                </a:solidFill>
                <a:latin typeface="PayPal Sans Big Thin" panose="020B040304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3538856"/>
            <a:ext cx="10515600" cy="382587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1800">
                <a:solidFill>
                  <a:schemeClr val="bg1">
                    <a:alpha val="60000"/>
                  </a:schemeClr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64566" y="6356350"/>
            <a:ext cx="4114800" cy="31115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3238" y="6350761"/>
            <a:ext cx="999330" cy="243258"/>
            <a:chOff x="842963" y="5748338"/>
            <a:chExt cx="1206499" cy="293687"/>
          </a:xfrm>
        </p:grpSpPr>
        <p:sp>
          <p:nvSpPr>
            <p:cNvPr id="10" name="Freeform 5"/>
            <p:cNvSpPr>
              <a:spLocks noEditPoints="1"/>
            </p:cNvSpPr>
            <p:nvPr userDrawn="1"/>
          </p:nvSpPr>
          <p:spPr bwMode="auto">
            <a:xfrm>
              <a:off x="1668463" y="5813425"/>
              <a:ext cx="161925" cy="185737"/>
            </a:xfrm>
            <a:custGeom>
              <a:avLst/>
              <a:gdLst>
                <a:gd name="T0" fmla="*/ 138 w 218"/>
                <a:gd name="T1" fmla="*/ 0 h 247"/>
                <a:gd name="T2" fmla="*/ 49 w 218"/>
                <a:gd name="T3" fmla="*/ 0 h 247"/>
                <a:gd name="T4" fmla="*/ 37 w 218"/>
                <a:gd name="T5" fmla="*/ 10 h 247"/>
                <a:gd name="T6" fmla="*/ 1 w 218"/>
                <a:gd name="T7" fmla="*/ 239 h 247"/>
                <a:gd name="T8" fmla="*/ 8 w 218"/>
                <a:gd name="T9" fmla="*/ 247 h 247"/>
                <a:gd name="T10" fmla="*/ 54 w 218"/>
                <a:gd name="T11" fmla="*/ 247 h 247"/>
                <a:gd name="T12" fmla="*/ 62 w 218"/>
                <a:gd name="T13" fmla="*/ 240 h 247"/>
                <a:gd name="T14" fmla="*/ 72 w 218"/>
                <a:gd name="T15" fmla="*/ 175 h 247"/>
                <a:gd name="T16" fmla="*/ 85 w 218"/>
                <a:gd name="T17" fmla="*/ 165 h 247"/>
                <a:gd name="T18" fmla="*/ 113 w 218"/>
                <a:gd name="T19" fmla="*/ 165 h 247"/>
                <a:gd name="T20" fmla="*/ 214 w 218"/>
                <a:gd name="T21" fmla="*/ 80 h 247"/>
                <a:gd name="T22" fmla="*/ 203 w 218"/>
                <a:gd name="T23" fmla="*/ 23 h 247"/>
                <a:gd name="T24" fmla="*/ 138 w 218"/>
                <a:gd name="T25" fmla="*/ 0 h 247"/>
                <a:gd name="T26" fmla="*/ 148 w 218"/>
                <a:gd name="T27" fmla="*/ 83 h 247"/>
                <a:gd name="T28" fmla="*/ 95 w 218"/>
                <a:gd name="T29" fmla="*/ 115 h 247"/>
                <a:gd name="T30" fmla="*/ 82 w 218"/>
                <a:gd name="T31" fmla="*/ 115 h 247"/>
                <a:gd name="T32" fmla="*/ 91 w 218"/>
                <a:gd name="T33" fmla="*/ 56 h 247"/>
                <a:gd name="T34" fmla="*/ 99 w 218"/>
                <a:gd name="T35" fmla="*/ 49 h 247"/>
                <a:gd name="T36" fmla="*/ 105 w 218"/>
                <a:gd name="T37" fmla="*/ 49 h 247"/>
                <a:gd name="T38" fmla="*/ 144 w 218"/>
                <a:gd name="T39" fmla="*/ 59 h 247"/>
                <a:gd name="T40" fmla="*/ 148 w 218"/>
                <a:gd name="T41" fmla="*/ 8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8" h="247">
                  <a:moveTo>
                    <a:pt x="138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3" y="0"/>
                    <a:pt x="38" y="4"/>
                    <a:pt x="37" y="10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3" y="247"/>
                    <a:pt x="8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8" y="247"/>
                    <a:pt x="62" y="244"/>
                    <a:pt x="62" y="240"/>
                  </a:cubicBezTo>
                  <a:cubicBezTo>
                    <a:pt x="72" y="175"/>
                    <a:pt x="72" y="175"/>
                    <a:pt x="72" y="175"/>
                  </a:cubicBezTo>
                  <a:cubicBezTo>
                    <a:pt x="73" y="169"/>
                    <a:pt x="79" y="165"/>
                    <a:pt x="85" y="165"/>
                  </a:cubicBezTo>
                  <a:cubicBezTo>
                    <a:pt x="113" y="165"/>
                    <a:pt x="113" y="165"/>
                    <a:pt x="113" y="165"/>
                  </a:cubicBezTo>
                  <a:cubicBezTo>
                    <a:pt x="171" y="165"/>
                    <a:pt x="205" y="136"/>
                    <a:pt x="214" y="80"/>
                  </a:cubicBezTo>
                  <a:cubicBezTo>
                    <a:pt x="218" y="56"/>
                    <a:pt x="214" y="36"/>
                    <a:pt x="203" y="23"/>
                  </a:cubicBezTo>
                  <a:cubicBezTo>
                    <a:pt x="190" y="8"/>
                    <a:pt x="168" y="0"/>
                    <a:pt x="138" y="0"/>
                  </a:cubicBezTo>
                  <a:close/>
                  <a:moveTo>
                    <a:pt x="148" y="83"/>
                  </a:moveTo>
                  <a:cubicBezTo>
                    <a:pt x="143" y="115"/>
                    <a:pt x="119" y="115"/>
                    <a:pt x="95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2"/>
                    <a:pt x="95" y="49"/>
                    <a:pt x="99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21" y="49"/>
                    <a:pt x="136" y="49"/>
                    <a:pt x="144" y="59"/>
                  </a:cubicBezTo>
                  <a:cubicBezTo>
                    <a:pt x="148" y="64"/>
                    <a:pt x="150" y="72"/>
                    <a:pt x="148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1196975" y="5813425"/>
              <a:ext cx="161925" cy="185737"/>
            </a:xfrm>
            <a:custGeom>
              <a:avLst/>
              <a:gdLst>
                <a:gd name="T0" fmla="*/ 138 w 218"/>
                <a:gd name="T1" fmla="*/ 0 h 247"/>
                <a:gd name="T2" fmla="*/ 49 w 218"/>
                <a:gd name="T3" fmla="*/ 0 h 247"/>
                <a:gd name="T4" fmla="*/ 37 w 218"/>
                <a:gd name="T5" fmla="*/ 10 h 247"/>
                <a:gd name="T6" fmla="*/ 1 w 218"/>
                <a:gd name="T7" fmla="*/ 239 h 247"/>
                <a:gd name="T8" fmla="*/ 8 w 218"/>
                <a:gd name="T9" fmla="*/ 247 h 247"/>
                <a:gd name="T10" fmla="*/ 51 w 218"/>
                <a:gd name="T11" fmla="*/ 247 h 247"/>
                <a:gd name="T12" fmla="*/ 63 w 218"/>
                <a:gd name="T13" fmla="*/ 237 h 247"/>
                <a:gd name="T14" fmla="*/ 73 w 218"/>
                <a:gd name="T15" fmla="*/ 175 h 247"/>
                <a:gd name="T16" fmla="*/ 85 w 218"/>
                <a:gd name="T17" fmla="*/ 165 h 247"/>
                <a:gd name="T18" fmla="*/ 113 w 218"/>
                <a:gd name="T19" fmla="*/ 165 h 247"/>
                <a:gd name="T20" fmla="*/ 214 w 218"/>
                <a:gd name="T21" fmla="*/ 80 h 247"/>
                <a:gd name="T22" fmla="*/ 203 w 218"/>
                <a:gd name="T23" fmla="*/ 23 h 247"/>
                <a:gd name="T24" fmla="*/ 138 w 218"/>
                <a:gd name="T25" fmla="*/ 0 h 247"/>
                <a:gd name="T26" fmla="*/ 148 w 218"/>
                <a:gd name="T27" fmla="*/ 83 h 247"/>
                <a:gd name="T28" fmla="*/ 95 w 218"/>
                <a:gd name="T29" fmla="*/ 115 h 247"/>
                <a:gd name="T30" fmla="*/ 82 w 218"/>
                <a:gd name="T31" fmla="*/ 115 h 247"/>
                <a:gd name="T32" fmla="*/ 91 w 218"/>
                <a:gd name="T33" fmla="*/ 56 h 247"/>
                <a:gd name="T34" fmla="*/ 99 w 218"/>
                <a:gd name="T35" fmla="*/ 49 h 247"/>
                <a:gd name="T36" fmla="*/ 105 w 218"/>
                <a:gd name="T37" fmla="*/ 49 h 247"/>
                <a:gd name="T38" fmla="*/ 144 w 218"/>
                <a:gd name="T39" fmla="*/ 59 h 247"/>
                <a:gd name="T40" fmla="*/ 148 w 218"/>
                <a:gd name="T41" fmla="*/ 8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8" h="247">
                  <a:moveTo>
                    <a:pt x="138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3" y="0"/>
                    <a:pt x="38" y="4"/>
                    <a:pt x="37" y="10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4" y="247"/>
                    <a:pt x="8" y="247"/>
                  </a:cubicBezTo>
                  <a:cubicBezTo>
                    <a:pt x="51" y="247"/>
                    <a:pt x="51" y="247"/>
                    <a:pt x="51" y="247"/>
                  </a:cubicBezTo>
                  <a:cubicBezTo>
                    <a:pt x="57" y="247"/>
                    <a:pt x="62" y="243"/>
                    <a:pt x="63" y="237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4" y="169"/>
                    <a:pt x="79" y="165"/>
                    <a:pt x="85" y="165"/>
                  </a:cubicBezTo>
                  <a:cubicBezTo>
                    <a:pt x="113" y="165"/>
                    <a:pt x="113" y="165"/>
                    <a:pt x="113" y="165"/>
                  </a:cubicBezTo>
                  <a:cubicBezTo>
                    <a:pt x="172" y="165"/>
                    <a:pt x="205" y="136"/>
                    <a:pt x="214" y="80"/>
                  </a:cubicBezTo>
                  <a:cubicBezTo>
                    <a:pt x="218" y="56"/>
                    <a:pt x="214" y="36"/>
                    <a:pt x="203" y="23"/>
                  </a:cubicBezTo>
                  <a:cubicBezTo>
                    <a:pt x="190" y="8"/>
                    <a:pt x="168" y="0"/>
                    <a:pt x="138" y="0"/>
                  </a:cubicBezTo>
                  <a:close/>
                  <a:moveTo>
                    <a:pt x="148" y="83"/>
                  </a:moveTo>
                  <a:cubicBezTo>
                    <a:pt x="143" y="115"/>
                    <a:pt x="119" y="115"/>
                    <a:pt x="95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2"/>
                    <a:pt x="95" y="49"/>
                    <a:pt x="99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21" y="49"/>
                    <a:pt x="136" y="49"/>
                    <a:pt x="144" y="59"/>
                  </a:cubicBezTo>
                  <a:cubicBezTo>
                    <a:pt x="149" y="64"/>
                    <a:pt x="150" y="72"/>
                    <a:pt x="148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1344613" y="5872163"/>
              <a:ext cx="158750" cy="130175"/>
            </a:xfrm>
            <a:custGeom>
              <a:avLst/>
              <a:gdLst>
                <a:gd name="T0" fmla="*/ 204 w 212"/>
                <a:gd name="T1" fmla="*/ 4 h 173"/>
                <a:gd name="T2" fmla="*/ 161 w 212"/>
                <a:gd name="T3" fmla="*/ 4 h 173"/>
                <a:gd name="T4" fmla="*/ 154 w 212"/>
                <a:gd name="T5" fmla="*/ 11 h 173"/>
                <a:gd name="T6" fmla="*/ 152 w 212"/>
                <a:gd name="T7" fmla="*/ 22 h 173"/>
                <a:gd name="T8" fmla="*/ 149 w 212"/>
                <a:gd name="T9" fmla="*/ 18 h 173"/>
                <a:gd name="T10" fmla="*/ 99 w 212"/>
                <a:gd name="T11" fmla="*/ 0 h 173"/>
                <a:gd name="T12" fmla="*/ 4 w 212"/>
                <a:gd name="T13" fmla="*/ 86 h 173"/>
                <a:gd name="T14" fmla="*/ 20 w 212"/>
                <a:gd name="T15" fmla="*/ 151 h 173"/>
                <a:gd name="T16" fmla="*/ 73 w 212"/>
                <a:gd name="T17" fmla="*/ 173 h 173"/>
                <a:gd name="T18" fmla="*/ 132 w 212"/>
                <a:gd name="T19" fmla="*/ 149 h 173"/>
                <a:gd name="T20" fmla="*/ 130 w 212"/>
                <a:gd name="T21" fmla="*/ 161 h 173"/>
                <a:gd name="T22" fmla="*/ 138 w 212"/>
                <a:gd name="T23" fmla="*/ 169 h 173"/>
                <a:gd name="T24" fmla="*/ 176 w 212"/>
                <a:gd name="T25" fmla="*/ 169 h 173"/>
                <a:gd name="T26" fmla="*/ 188 w 212"/>
                <a:gd name="T27" fmla="*/ 159 h 173"/>
                <a:gd name="T28" fmla="*/ 211 w 212"/>
                <a:gd name="T29" fmla="*/ 13 h 173"/>
                <a:gd name="T30" fmla="*/ 204 w 212"/>
                <a:gd name="T31" fmla="*/ 4 h 173"/>
                <a:gd name="T32" fmla="*/ 145 w 212"/>
                <a:gd name="T33" fmla="*/ 87 h 173"/>
                <a:gd name="T34" fmla="*/ 97 w 212"/>
                <a:gd name="T35" fmla="*/ 128 h 173"/>
                <a:gd name="T36" fmla="*/ 68 w 212"/>
                <a:gd name="T37" fmla="*/ 116 h 173"/>
                <a:gd name="T38" fmla="*/ 61 w 212"/>
                <a:gd name="T39" fmla="*/ 87 h 173"/>
                <a:gd name="T40" fmla="*/ 109 w 212"/>
                <a:gd name="T41" fmla="*/ 45 h 173"/>
                <a:gd name="T42" fmla="*/ 137 w 212"/>
                <a:gd name="T43" fmla="*/ 57 h 173"/>
                <a:gd name="T44" fmla="*/ 145 w 212"/>
                <a:gd name="T45" fmla="*/ 8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173">
                  <a:moveTo>
                    <a:pt x="204" y="4"/>
                  </a:moveTo>
                  <a:cubicBezTo>
                    <a:pt x="161" y="4"/>
                    <a:pt x="161" y="4"/>
                    <a:pt x="161" y="4"/>
                  </a:cubicBezTo>
                  <a:cubicBezTo>
                    <a:pt x="158" y="4"/>
                    <a:pt x="155" y="7"/>
                    <a:pt x="154" y="11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0" y="5"/>
                    <a:pt x="119" y="0"/>
                    <a:pt x="99" y="0"/>
                  </a:cubicBezTo>
                  <a:cubicBezTo>
                    <a:pt x="52" y="0"/>
                    <a:pt x="12" y="36"/>
                    <a:pt x="4" y="86"/>
                  </a:cubicBezTo>
                  <a:cubicBezTo>
                    <a:pt x="0" y="111"/>
                    <a:pt x="6" y="135"/>
                    <a:pt x="20" y="151"/>
                  </a:cubicBezTo>
                  <a:cubicBezTo>
                    <a:pt x="33" y="167"/>
                    <a:pt x="51" y="173"/>
                    <a:pt x="73" y="173"/>
                  </a:cubicBezTo>
                  <a:cubicBezTo>
                    <a:pt x="111" y="173"/>
                    <a:pt x="132" y="149"/>
                    <a:pt x="132" y="149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5"/>
                    <a:pt x="133" y="169"/>
                    <a:pt x="138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82" y="169"/>
                    <a:pt x="187" y="165"/>
                    <a:pt x="188" y="159"/>
                  </a:cubicBezTo>
                  <a:cubicBezTo>
                    <a:pt x="211" y="13"/>
                    <a:pt x="211" y="13"/>
                    <a:pt x="211" y="13"/>
                  </a:cubicBezTo>
                  <a:cubicBezTo>
                    <a:pt x="212" y="8"/>
                    <a:pt x="209" y="4"/>
                    <a:pt x="204" y="4"/>
                  </a:cubicBezTo>
                  <a:close/>
                  <a:moveTo>
                    <a:pt x="145" y="87"/>
                  </a:moveTo>
                  <a:cubicBezTo>
                    <a:pt x="141" y="112"/>
                    <a:pt x="121" y="128"/>
                    <a:pt x="97" y="128"/>
                  </a:cubicBezTo>
                  <a:cubicBezTo>
                    <a:pt x="84" y="128"/>
                    <a:pt x="74" y="124"/>
                    <a:pt x="68" y="116"/>
                  </a:cubicBezTo>
                  <a:cubicBezTo>
                    <a:pt x="62" y="109"/>
                    <a:pt x="59" y="98"/>
                    <a:pt x="61" y="87"/>
                  </a:cubicBezTo>
                  <a:cubicBezTo>
                    <a:pt x="65" y="62"/>
                    <a:pt x="85" y="45"/>
                    <a:pt x="109" y="45"/>
                  </a:cubicBezTo>
                  <a:cubicBezTo>
                    <a:pt x="121" y="45"/>
                    <a:pt x="131" y="50"/>
                    <a:pt x="137" y="57"/>
                  </a:cubicBezTo>
                  <a:cubicBezTo>
                    <a:pt x="144" y="65"/>
                    <a:pt x="147" y="75"/>
                    <a:pt x="145" y="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817688" y="5872163"/>
              <a:ext cx="157162" cy="130175"/>
            </a:xfrm>
            <a:custGeom>
              <a:avLst/>
              <a:gdLst>
                <a:gd name="T0" fmla="*/ 204 w 212"/>
                <a:gd name="T1" fmla="*/ 4 h 173"/>
                <a:gd name="T2" fmla="*/ 161 w 212"/>
                <a:gd name="T3" fmla="*/ 4 h 173"/>
                <a:gd name="T4" fmla="*/ 154 w 212"/>
                <a:gd name="T5" fmla="*/ 11 h 173"/>
                <a:gd name="T6" fmla="*/ 152 w 212"/>
                <a:gd name="T7" fmla="*/ 22 h 173"/>
                <a:gd name="T8" fmla="*/ 149 w 212"/>
                <a:gd name="T9" fmla="*/ 18 h 173"/>
                <a:gd name="T10" fmla="*/ 99 w 212"/>
                <a:gd name="T11" fmla="*/ 0 h 173"/>
                <a:gd name="T12" fmla="*/ 4 w 212"/>
                <a:gd name="T13" fmla="*/ 86 h 173"/>
                <a:gd name="T14" fmla="*/ 19 w 212"/>
                <a:gd name="T15" fmla="*/ 151 h 173"/>
                <a:gd name="T16" fmla="*/ 73 w 212"/>
                <a:gd name="T17" fmla="*/ 173 h 173"/>
                <a:gd name="T18" fmla="*/ 132 w 212"/>
                <a:gd name="T19" fmla="*/ 149 h 173"/>
                <a:gd name="T20" fmla="*/ 130 w 212"/>
                <a:gd name="T21" fmla="*/ 161 h 173"/>
                <a:gd name="T22" fmla="*/ 138 w 212"/>
                <a:gd name="T23" fmla="*/ 169 h 173"/>
                <a:gd name="T24" fmla="*/ 176 w 212"/>
                <a:gd name="T25" fmla="*/ 169 h 173"/>
                <a:gd name="T26" fmla="*/ 188 w 212"/>
                <a:gd name="T27" fmla="*/ 159 h 173"/>
                <a:gd name="T28" fmla="*/ 211 w 212"/>
                <a:gd name="T29" fmla="*/ 13 h 173"/>
                <a:gd name="T30" fmla="*/ 204 w 212"/>
                <a:gd name="T31" fmla="*/ 4 h 173"/>
                <a:gd name="T32" fmla="*/ 144 w 212"/>
                <a:gd name="T33" fmla="*/ 87 h 173"/>
                <a:gd name="T34" fmla="*/ 96 w 212"/>
                <a:gd name="T35" fmla="*/ 128 h 173"/>
                <a:gd name="T36" fmla="*/ 68 w 212"/>
                <a:gd name="T37" fmla="*/ 116 h 173"/>
                <a:gd name="T38" fmla="*/ 61 w 212"/>
                <a:gd name="T39" fmla="*/ 87 h 173"/>
                <a:gd name="T40" fmla="*/ 109 w 212"/>
                <a:gd name="T41" fmla="*/ 45 h 173"/>
                <a:gd name="T42" fmla="*/ 137 w 212"/>
                <a:gd name="T43" fmla="*/ 57 h 173"/>
                <a:gd name="T44" fmla="*/ 144 w 212"/>
                <a:gd name="T45" fmla="*/ 8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173">
                  <a:moveTo>
                    <a:pt x="204" y="4"/>
                  </a:moveTo>
                  <a:cubicBezTo>
                    <a:pt x="161" y="4"/>
                    <a:pt x="161" y="4"/>
                    <a:pt x="161" y="4"/>
                  </a:cubicBezTo>
                  <a:cubicBezTo>
                    <a:pt x="158" y="4"/>
                    <a:pt x="155" y="7"/>
                    <a:pt x="154" y="11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0" y="5"/>
                    <a:pt x="119" y="0"/>
                    <a:pt x="99" y="0"/>
                  </a:cubicBezTo>
                  <a:cubicBezTo>
                    <a:pt x="52" y="0"/>
                    <a:pt x="11" y="36"/>
                    <a:pt x="4" y="86"/>
                  </a:cubicBezTo>
                  <a:cubicBezTo>
                    <a:pt x="0" y="111"/>
                    <a:pt x="5" y="135"/>
                    <a:pt x="19" y="151"/>
                  </a:cubicBezTo>
                  <a:cubicBezTo>
                    <a:pt x="32" y="167"/>
                    <a:pt x="51" y="173"/>
                    <a:pt x="73" y="173"/>
                  </a:cubicBezTo>
                  <a:cubicBezTo>
                    <a:pt x="111" y="173"/>
                    <a:pt x="132" y="149"/>
                    <a:pt x="132" y="149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5"/>
                    <a:pt x="133" y="169"/>
                    <a:pt x="138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82" y="169"/>
                    <a:pt x="187" y="165"/>
                    <a:pt x="188" y="159"/>
                  </a:cubicBezTo>
                  <a:cubicBezTo>
                    <a:pt x="211" y="13"/>
                    <a:pt x="211" y="13"/>
                    <a:pt x="211" y="13"/>
                  </a:cubicBezTo>
                  <a:cubicBezTo>
                    <a:pt x="212" y="8"/>
                    <a:pt x="208" y="4"/>
                    <a:pt x="204" y="4"/>
                  </a:cubicBezTo>
                  <a:close/>
                  <a:moveTo>
                    <a:pt x="144" y="87"/>
                  </a:moveTo>
                  <a:cubicBezTo>
                    <a:pt x="140" y="112"/>
                    <a:pt x="121" y="128"/>
                    <a:pt x="96" y="128"/>
                  </a:cubicBezTo>
                  <a:cubicBezTo>
                    <a:pt x="84" y="128"/>
                    <a:pt x="74" y="124"/>
                    <a:pt x="68" y="116"/>
                  </a:cubicBezTo>
                  <a:cubicBezTo>
                    <a:pt x="61" y="109"/>
                    <a:pt x="59" y="98"/>
                    <a:pt x="61" y="87"/>
                  </a:cubicBezTo>
                  <a:cubicBezTo>
                    <a:pt x="65" y="62"/>
                    <a:pt x="85" y="45"/>
                    <a:pt x="109" y="45"/>
                  </a:cubicBezTo>
                  <a:cubicBezTo>
                    <a:pt x="121" y="45"/>
                    <a:pt x="131" y="50"/>
                    <a:pt x="137" y="57"/>
                  </a:cubicBezTo>
                  <a:cubicBezTo>
                    <a:pt x="144" y="65"/>
                    <a:pt x="146" y="75"/>
                    <a:pt x="144" y="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1517650" y="5875338"/>
              <a:ext cx="155575" cy="166687"/>
            </a:xfrm>
            <a:custGeom>
              <a:avLst/>
              <a:gdLst>
                <a:gd name="T0" fmla="*/ 200 w 210"/>
                <a:gd name="T1" fmla="*/ 0 h 223"/>
                <a:gd name="T2" fmla="*/ 157 w 210"/>
                <a:gd name="T3" fmla="*/ 0 h 223"/>
                <a:gd name="T4" fmla="*/ 147 w 210"/>
                <a:gd name="T5" fmla="*/ 6 h 223"/>
                <a:gd name="T6" fmla="*/ 88 w 210"/>
                <a:gd name="T7" fmla="*/ 93 h 223"/>
                <a:gd name="T8" fmla="*/ 63 w 210"/>
                <a:gd name="T9" fmla="*/ 9 h 223"/>
                <a:gd name="T10" fmla="*/ 51 w 210"/>
                <a:gd name="T11" fmla="*/ 0 h 223"/>
                <a:gd name="T12" fmla="*/ 9 w 210"/>
                <a:gd name="T13" fmla="*/ 0 h 223"/>
                <a:gd name="T14" fmla="*/ 2 w 210"/>
                <a:gd name="T15" fmla="*/ 10 h 223"/>
                <a:gd name="T16" fmla="*/ 49 w 210"/>
                <a:gd name="T17" fmla="*/ 149 h 223"/>
                <a:gd name="T18" fmla="*/ 5 w 210"/>
                <a:gd name="T19" fmla="*/ 211 h 223"/>
                <a:gd name="T20" fmla="*/ 11 w 210"/>
                <a:gd name="T21" fmla="*/ 223 h 223"/>
                <a:gd name="T22" fmla="*/ 54 w 210"/>
                <a:gd name="T23" fmla="*/ 223 h 223"/>
                <a:gd name="T24" fmla="*/ 64 w 210"/>
                <a:gd name="T25" fmla="*/ 218 h 223"/>
                <a:gd name="T26" fmla="*/ 206 w 210"/>
                <a:gd name="T27" fmla="*/ 12 h 223"/>
                <a:gd name="T28" fmla="*/ 200 w 210"/>
                <a:gd name="T29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223">
                  <a:moveTo>
                    <a:pt x="200" y="0"/>
                  </a:moveTo>
                  <a:cubicBezTo>
                    <a:pt x="157" y="0"/>
                    <a:pt x="157" y="0"/>
                    <a:pt x="157" y="0"/>
                  </a:cubicBezTo>
                  <a:cubicBezTo>
                    <a:pt x="153" y="0"/>
                    <a:pt x="149" y="2"/>
                    <a:pt x="147" y="6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1" y="4"/>
                    <a:pt x="56" y="0"/>
                    <a:pt x="5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2" y="10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" y="211"/>
                    <a:pt x="5" y="211"/>
                    <a:pt x="5" y="211"/>
                  </a:cubicBezTo>
                  <a:cubicBezTo>
                    <a:pt x="1" y="216"/>
                    <a:pt x="5" y="223"/>
                    <a:pt x="11" y="223"/>
                  </a:cubicBezTo>
                  <a:cubicBezTo>
                    <a:pt x="54" y="223"/>
                    <a:pt x="54" y="223"/>
                    <a:pt x="54" y="223"/>
                  </a:cubicBezTo>
                  <a:cubicBezTo>
                    <a:pt x="58" y="223"/>
                    <a:pt x="61" y="221"/>
                    <a:pt x="64" y="218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10" y="7"/>
                    <a:pt x="206" y="0"/>
                    <a:pt x="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978025" y="5813425"/>
              <a:ext cx="71437" cy="185737"/>
            </a:xfrm>
            <a:custGeom>
              <a:avLst/>
              <a:gdLst>
                <a:gd name="T0" fmla="*/ 37 w 94"/>
                <a:gd name="T1" fmla="*/ 6 h 247"/>
                <a:gd name="T2" fmla="*/ 1 w 94"/>
                <a:gd name="T3" fmla="*/ 239 h 247"/>
                <a:gd name="T4" fmla="*/ 8 w 94"/>
                <a:gd name="T5" fmla="*/ 247 h 247"/>
                <a:gd name="T6" fmla="*/ 45 w 94"/>
                <a:gd name="T7" fmla="*/ 247 h 247"/>
                <a:gd name="T8" fmla="*/ 57 w 94"/>
                <a:gd name="T9" fmla="*/ 237 h 247"/>
                <a:gd name="T10" fmla="*/ 93 w 94"/>
                <a:gd name="T11" fmla="*/ 9 h 247"/>
                <a:gd name="T12" fmla="*/ 86 w 94"/>
                <a:gd name="T13" fmla="*/ 0 h 247"/>
                <a:gd name="T14" fmla="*/ 44 w 94"/>
                <a:gd name="T15" fmla="*/ 0 h 247"/>
                <a:gd name="T16" fmla="*/ 37 w 94"/>
                <a:gd name="T17" fmla="*/ 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47">
                  <a:moveTo>
                    <a:pt x="37" y="6"/>
                  </a:move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3" y="247"/>
                    <a:pt x="8" y="247"/>
                  </a:cubicBezTo>
                  <a:cubicBezTo>
                    <a:pt x="45" y="247"/>
                    <a:pt x="45" y="247"/>
                    <a:pt x="45" y="247"/>
                  </a:cubicBezTo>
                  <a:cubicBezTo>
                    <a:pt x="51" y="247"/>
                    <a:pt x="56" y="243"/>
                    <a:pt x="57" y="237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4" y="4"/>
                    <a:pt x="90" y="0"/>
                    <a:pt x="8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0"/>
                    <a:pt x="38" y="3"/>
                    <a:pt x="37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842963" y="5748338"/>
              <a:ext cx="250825" cy="293687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842963" y="5748338"/>
              <a:ext cx="227012" cy="260350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842963" y="5748338"/>
              <a:ext cx="227012" cy="260350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8190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4" y="1619452"/>
            <a:ext cx="3575304" cy="2112264"/>
          </a:xfrm>
        </p:spPr>
        <p:txBody>
          <a:bodyPr anchor="t"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504825" y="1530349"/>
            <a:ext cx="3566160" cy="548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98672" y="1524000"/>
            <a:ext cx="0" cy="42976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190275" y="1528762"/>
            <a:ext cx="5495544" cy="482803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5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1500"/>
              </a:spcBef>
              <a:buNone/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81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136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4566" y="6356350"/>
            <a:ext cx="4114800" cy="311150"/>
          </a:xfr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03238" y="851806"/>
            <a:ext cx="11188700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15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>
          <p15:clr>
            <a:srgbClr val="FBAE40"/>
          </p15:clr>
        </p15:guide>
        <p15:guide id="2" orient="horz" pos="80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4" y="527050"/>
            <a:ext cx="11187113" cy="3111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824" y="2041048"/>
            <a:ext cx="5349240" cy="4296932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03238" y="1680415"/>
            <a:ext cx="5349240" cy="4794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342697" y="2041048"/>
            <a:ext cx="5349240" cy="4296932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342697" y="1680415"/>
            <a:ext cx="5349240" cy="4794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03238" y="851806"/>
            <a:ext cx="11188700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32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>
          <p15:clr>
            <a:srgbClr val="FBAE40"/>
          </p15:clr>
        </p15:guide>
        <p15:guide id="2" orient="horz" pos="80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Image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5972175" y="0"/>
            <a:ext cx="6219825" cy="6781800"/>
          </a:xfrm>
        </p:spPr>
        <p:txBody>
          <a:bodyPr tIns="3657600" anchor="t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40" y="527050"/>
            <a:ext cx="5221306" cy="3111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03238" y="851806"/>
            <a:ext cx="5221307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824" y="1528762"/>
            <a:ext cx="5220567" cy="4824413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7429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3pPr>
            <a:lvl4pPr marL="9715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4pPr>
            <a:lvl5pPr marL="12001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4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0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5662863" y="2659761"/>
            <a:ext cx="874580" cy="1024033"/>
            <a:chOff x="6589712" y="1914525"/>
            <a:chExt cx="870431" cy="1019175"/>
          </a:xfrm>
        </p:grpSpPr>
        <p:sp>
          <p:nvSpPr>
            <p:cNvPr id="6" name="Freeform 11"/>
            <p:cNvSpPr>
              <a:spLocks/>
            </p:cNvSpPr>
            <p:nvPr userDrawn="1"/>
          </p:nvSpPr>
          <p:spPr bwMode="auto">
            <a:xfrm>
              <a:off x="6589712" y="1914525"/>
              <a:ext cx="870431" cy="1019175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12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6710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Quote w/ Blue 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©</a:t>
            </a:r>
            <a:r>
              <a:rPr lang="is-IS"/>
              <a:t>2017</a:t>
            </a:r>
            <a:r>
              <a:rPr lang="en-US" dirty="0"/>
              <a:t> PayPal Inc. Confidential and proprietary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796925" y="1550988"/>
            <a:ext cx="6061075" cy="1077912"/>
          </a:xfrm>
        </p:spPr>
        <p:txBody>
          <a:bodyPr anchor="b" anchorCtr="0"/>
          <a:lstStyle>
            <a:lvl1pPr>
              <a:defRPr lang="en-US" sz="4800" kern="1200" dirty="0">
                <a:solidFill>
                  <a:schemeClr val="accent1"/>
                </a:solidFill>
                <a:latin typeface="PayPal Sans Big Thin" panose="020B0403040504040204" pitchFamily="34" charset="0"/>
                <a:ea typeface="+mn-ea"/>
                <a:cs typeface="+mn-cs"/>
              </a:defRPr>
            </a:lvl1pPr>
          </a:lstStyle>
          <a:p>
            <a:pPr marL="0"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796463" y="2710656"/>
            <a:ext cx="2846624" cy="1436688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164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0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97762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824" y="527050"/>
            <a:ext cx="11187113" cy="3111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4" y="1528762"/>
            <a:ext cx="11187114" cy="482441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37618" y="6356350"/>
            <a:ext cx="879763" cy="2926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64566" y="6356350"/>
            <a:ext cx="4114800" cy="31115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©2016 PayPal Inc. Confidential and proprietar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69650" y="6356350"/>
            <a:ext cx="527050" cy="2920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10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777" r:id="rId3"/>
    <p:sldLayoutId id="2147483650" r:id="rId4"/>
    <p:sldLayoutId id="2147483772" r:id="rId5"/>
    <p:sldLayoutId id="2147483702" r:id="rId6"/>
    <p:sldLayoutId id="2147483775" r:id="rId7"/>
    <p:sldLayoutId id="214748378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500"/>
        </a:spcBef>
        <a:buClr>
          <a:schemeClr val="accent1"/>
        </a:buClr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87338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2pPr>
      <a:lvl3pPr marL="51435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3pPr>
      <a:lvl4pPr marL="739775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4pPr>
      <a:lvl5pPr marL="974725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F26B43"/>
          </p15:clr>
        </p15:guide>
        <p15:guide id="2" pos="7365">
          <p15:clr>
            <a:srgbClr val="F26B43"/>
          </p15:clr>
        </p15:guide>
        <p15:guide id="3" orient="horz" pos="4002">
          <p15:clr>
            <a:srgbClr val="F26B43"/>
          </p15:clr>
        </p15:guide>
        <p15:guide id="6" orient="horz" pos="3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221DED2-32AB-C746-84B7-79E073D1C336}"/>
              </a:ext>
            </a:extLst>
          </p:cNvPr>
          <p:cNvSpPr txBox="1">
            <a:spLocks/>
          </p:cNvSpPr>
          <p:nvPr/>
        </p:nvSpPr>
        <p:spPr>
          <a:xfrm>
            <a:off x="381000" y="10683"/>
            <a:ext cx="9758221" cy="522717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7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</a:pPr>
            <a:r>
              <a:rPr lang="en-US" sz="3200" dirty="0">
                <a:solidFill>
                  <a:schemeClr val="accent1">
                    <a:lumMod val="75000"/>
                  </a:schemeClr>
                </a:solidFill>
              </a:rPr>
              <a:t>FY2023 Big Data Services Roadmap</a:t>
            </a:r>
          </a:p>
        </p:txBody>
      </p:sp>
      <p:graphicFrame>
        <p:nvGraphicFramePr>
          <p:cNvPr id="39" name="Content Placeholder 6">
            <a:extLst>
              <a:ext uri="{FF2B5EF4-FFF2-40B4-BE49-F238E27FC236}">
                <a16:creationId xmlns:a16="http://schemas.microsoft.com/office/drawing/2014/main" id="{AE30ED85-4BC9-6840-A64D-3534EECD7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7077421"/>
              </p:ext>
            </p:extLst>
          </p:nvPr>
        </p:nvGraphicFramePr>
        <p:xfrm>
          <a:off x="381000" y="556603"/>
          <a:ext cx="9770156" cy="4331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406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6838">
                  <a:extLst>
                    <a:ext uri="{9D8B030D-6E8A-4147-A177-3AD203B41FA5}">
                      <a16:colId xmlns:a16="http://schemas.microsoft.com/office/drawing/2014/main" val="2316362702"/>
                    </a:ext>
                  </a:extLst>
                </a:gridCol>
                <a:gridCol w="2311040">
                  <a:extLst>
                    <a:ext uri="{9D8B030D-6E8A-4147-A177-3AD203B41FA5}">
                      <a16:colId xmlns:a16="http://schemas.microsoft.com/office/drawing/2014/main" val="3891376705"/>
                    </a:ext>
                  </a:extLst>
                </a:gridCol>
                <a:gridCol w="2311040">
                  <a:extLst>
                    <a:ext uri="{9D8B030D-6E8A-4147-A177-3AD203B41FA5}">
                      <a16:colId xmlns:a16="http://schemas.microsoft.com/office/drawing/2014/main" val="14089114"/>
                    </a:ext>
                  </a:extLst>
                </a:gridCol>
              </a:tblGrid>
              <a:tr h="696074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Q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Q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2785">
                <a:tc>
                  <a:txBody>
                    <a:bodyPr/>
                    <a:lstStyle/>
                    <a:p>
                      <a:pPr algn="l"/>
                      <a:r>
                        <a:rPr lang="en-US" sz="1200" b="1" baseline="0" dirty="0">
                          <a:solidFill>
                            <a:srgbClr val="002060"/>
                          </a:solidFill>
                        </a:rPr>
                        <a:t>OSS Hadoop Migration Support</a:t>
                      </a:r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  <a:p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D9E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77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2060"/>
                          </a:solidFill>
                        </a:rPr>
                        <a:t>Big Data Services Hardening and Resili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43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2060"/>
                          </a:solidFill>
                        </a:rPr>
                        <a:t>Migrate DPI and ANAH Users to Spark 3.2</a:t>
                      </a:r>
                    </a:p>
                  </a:txBody>
                  <a:tcPr anchor="ctr"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D9E7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D9E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313972"/>
                  </a:ext>
                </a:extLst>
              </a:tr>
            </a:tbl>
          </a:graphicData>
        </a:graphic>
      </p:graphicFrame>
      <p:sp>
        <p:nvSpPr>
          <p:cNvPr id="41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234ABBCB-B911-7943-B56E-CCD7AF3C3F4E}"/>
              </a:ext>
            </a:extLst>
          </p:cNvPr>
          <p:cNvSpPr/>
          <p:nvPr/>
        </p:nvSpPr>
        <p:spPr bwMode="auto">
          <a:xfrm>
            <a:off x="3429000" y="2306838"/>
            <a:ext cx="2085874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 err="1">
                <a:solidFill>
                  <a:schemeClr val="tx1"/>
                </a:solidFill>
                <a:latin typeface="PayPal Forward" charset="0"/>
              </a:rPr>
              <a:t>YuniKorn</a:t>
            </a:r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 1.2</a:t>
            </a:r>
          </a:p>
        </p:txBody>
      </p:sp>
      <p:sp>
        <p:nvSpPr>
          <p:cNvPr id="12" name="Pentagon 11">
            <a:hlinkClick r:id="" action="ppaction://noaction"/>
            <a:extLst>
              <a:ext uri="{FF2B5EF4-FFF2-40B4-BE49-F238E27FC236}">
                <a16:creationId xmlns:a16="http://schemas.microsoft.com/office/drawing/2014/main" id="{3E4BC5C9-CD5F-B944-9C8D-B58BF52373C3}"/>
              </a:ext>
            </a:extLst>
          </p:cNvPr>
          <p:cNvSpPr/>
          <p:nvPr/>
        </p:nvSpPr>
        <p:spPr bwMode="auto">
          <a:xfrm>
            <a:off x="2819400" y="1521757"/>
            <a:ext cx="2718553" cy="17477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ANAH Migration</a:t>
            </a:r>
          </a:p>
        </p:txBody>
      </p:sp>
      <p:sp>
        <p:nvSpPr>
          <p:cNvPr id="14" name="Pentagon 13">
            <a:hlinkClick r:id="" action="ppaction://noaction"/>
            <a:extLst>
              <a:ext uri="{FF2B5EF4-FFF2-40B4-BE49-F238E27FC236}">
                <a16:creationId xmlns:a16="http://schemas.microsoft.com/office/drawing/2014/main" id="{DFE1E0C0-095B-8347-A976-4182661E12C4}"/>
              </a:ext>
            </a:extLst>
          </p:cNvPr>
          <p:cNvSpPr/>
          <p:nvPr/>
        </p:nvSpPr>
        <p:spPr bwMode="auto">
          <a:xfrm>
            <a:off x="7832620" y="1886978"/>
            <a:ext cx="2310771" cy="170163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OPR2 Migration</a:t>
            </a:r>
          </a:p>
        </p:txBody>
      </p:sp>
      <p:sp>
        <p:nvSpPr>
          <p:cNvPr id="52" name="Pentagon 51">
            <a:hlinkClick r:id="" action="ppaction://noaction"/>
            <a:extLst>
              <a:ext uri="{FF2B5EF4-FFF2-40B4-BE49-F238E27FC236}">
                <a16:creationId xmlns:a16="http://schemas.microsoft.com/office/drawing/2014/main" id="{67EB89E7-6618-6241-BDD7-E67FFCFF9562}"/>
              </a:ext>
            </a:extLst>
          </p:cNvPr>
          <p:cNvSpPr/>
          <p:nvPr/>
        </p:nvSpPr>
        <p:spPr bwMode="auto">
          <a:xfrm>
            <a:off x="1371600" y="1312188"/>
            <a:ext cx="1447801" cy="181983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DPI Migration</a:t>
            </a:r>
          </a:p>
        </p:txBody>
      </p:sp>
      <p:sp>
        <p:nvSpPr>
          <p:cNvPr id="53" name="Pentagon 52">
            <a:hlinkClick r:id="" action="ppaction://noaction"/>
            <a:extLst>
              <a:ext uri="{FF2B5EF4-FFF2-40B4-BE49-F238E27FC236}">
                <a16:creationId xmlns:a16="http://schemas.microsoft.com/office/drawing/2014/main" id="{90A9C6BA-F201-4A44-8F1D-7DFF5CA763A7}"/>
              </a:ext>
            </a:extLst>
          </p:cNvPr>
          <p:cNvSpPr/>
          <p:nvPr/>
        </p:nvSpPr>
        <p:spPr bwMode="auto">
          <a:xfrm>
            <a:off x="5537953" y="1699523"/>
            <a:ext cx="2920247" cy="160484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OPR Migration</a:t>
            </a:r>
          </a:p>
        </p:txBody>
      </p:sp>
      <p:sp>
        <p:nvSpPr>
          <p:cNvPr id="2" name="Pentagon 51">
            <a:hlinkClick r:id="" action="ppaction://noaction"/>
            <a:extLst>
              <a:ext uri="{FF2B5EF4-FFF2-40B4-BE49-F238E27FC236}">
                <a16:creationId xmlns:a16="http://schemas.microsoft.com/office/drawing/2014/main" id="{8A10BB38-1DBA-6C32-2893-D93C9EC2998F}"/>
              </a:ext>
            </a:extLst>
          </p:cNvPr>
          <p:cNvSpPr/>
          <p:nvPr/>
        </p:nvSpPr>
        <p:spPr bwMode="auto">
          <a:xfrm>
            <a:off x="4178676" y="1312188"/>
            <a:ext cx="1336198" cy="181983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TRE Cert</a:t>
            </a:r>
          </a:p>
        </p:txBody>
      </p:sp>
      <p:sp>
        <p:nvSpPr>
          <p:cNvPr id="4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7CC40AC4-9430-3809-874C-9337431C4A46}"/>
              </a:ext>
            </a:extLst>
          </p:cNvPr>
          <p:cNvSpPr/>
          <p:nvPr/>
        </p:nvSpPr>
        <p:spPr bwMode="auto">
          <a:xfrm>
            <a:off x="5537952" y="2473652"/>
            <a:ext cx="2294667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 err="1">
                <a:solidFill>
                  <a:schemeClr val="tx1"/>
                </a:solidFill>
                <a:latin typeface="PayPal Forward" charset="0"/>
              </a:rPr>
              <a:t>SCaaS</a:t>
            </a:r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 Resiliency, CVE Remediation</a:t>
            </a:r>
          </a:p>
        </p:txBody>
      </p:sp>
      <p:sp>
        <p:nvSpPr>
          <p:cNvPr id="5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682299C2-C96C-5F94-FCFD-C4A1CE39BF35}"/>
              </a:ext>
            </a:extLst>
          </p:cNvPr>
          <p:cNvSpPr/>
          <p:nvPr/>
        </p:nvSpPr>
        <p:spPr bwMode="auto">
          <a:xfrm>
            <a:off x="5537952" y="2679212"/>
            <a:ext cx="2294667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Livy CVE Remediation</a:t>
            </a:r>
          </a:p>
        </p:txBody>
      </p:sp>
      <p:sp>
        <p:nvSpPr>
          <p:cNvPr id="7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C42F91D9-560A-CF25-BA7D-D6426AFEF07E}"/>
              </a:ext>
            </a:extLst>
          </p:cNvPr>
          <p:cNvSpPr/>
          <p:nvPr/>
        </p:nvSpPr>
        <p:spPr bwMode="auto">
          <a:xfrm>
            <a:off x="7828450" y="3071394"/>
            <a:ext cx="2310771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 err="1">
                <a:solidFill>
                  <a:schemeClr val="tx1"/>
                </a:solidFill>
                <a:latin typeface="PayPal Forward" charset="0"/>
              </a:rPr>
              <a:t>SCaaS</a:t>
            </a:r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 Monitoring and Alerts</a:t>
            </a:r>
          </a:p>
        </p:txBody>
      </p:sp>
      <p:sp>
        <p:nvSpPr>
          <p:cNvPr id="8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0B207065-DA81-B057-B48B-2B631E28F913}"/>
              </a:ext>
            </a:extLst>
          </p:cNvPr>
          <p:cNvSpPr/>
          <p:nvPr/>
        </p:nvSpPr>
        <p:spPr bwMode="auto">
          <a:xfrm>
            <a:off x="7162800" y="2879664"/>
            <a:ext cx="2133601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 err="1">
                <a:solidFill>
                  <a:schemeClr val="tx1"/>
                </a:solidFill>
                <a:latin typeface="PayPal Forward" charset="0"/>
              </a:rPr>
              <a:t>YuniKorn</a:t>
            </a:r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 1.3</a:t>
            </a:r>
          </a:p>
        </p:txBody>
      </p:sp>
      <p:sp>
        <p:nvSpPr>
          <p:cNvPr id="9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5D4738D3-B533-9A1D-E850-22EE9C40B6C3}"/>
              </a:ext>
            </a:extLst>
          </p:cNvPr>
          <p:cNvSpPr/>
          <p:nvPr/>
        </p:nvSpPr>
        <p:spPr bwMode="auto">
          <a:xfrm>
            <a:off x="7828450" y="3270735"/>
            <a:ext cx="2310771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Spark 3.4.1 Upgrade</a:t>
            </a:r>
          </a:p>
        </p:txBody>
      </p:sp>
      <p:sp>
        <p:nvSpPr>
          <p:cNvPr id="10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65685862-0603-2838-9050-00320DA31230}"/>
              </a:ext>
            </a:extLst>
          </p:cNvPr>
          <p:cNvSpPr/>
          <p:nvPr/>
        </p:nvSpPr>
        <p:spPr bwMode="auto">
          <a:xfrm>
            <a:off x="7829819" y="3479809"/>
            <a:ext cx="2294667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 err="1">
                <a:solidFill>
                  <a:schemeClr val="tx1"/>
                </a:solidFill>
                <a:latin typeface="PayPal Forward" charset="0"/>
              </a:rPr>
              <a:t>SCaaS</a:t>
            </a:r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 Resiliency – Q4</a:t>
            </a:r>
          </a:p>
        </p:txBody>
      </p:sp>
      <p:sp>
        <p:nvSpPr>
          <p:cNvPr id="11" name="Pentagon 40">
            <a:hlinkClick r:id="" action="ppaction://noaction"/>
            <a:extLst>
              <a:ext uri="{FF2B5EF4-FFF2-40B4-BE49-F238E27FC236}">
                <a16:creationId xmlns:a16="http://schemas.microsoft.com/office/drawing/2014/main" id="{CAF8544D-1BB3-883C-FA3C-FC9546BFFDB4}"/>
              </a:ext>
            </a:extLst>
          </p:cNvPr>
          <p:cNvSpPr/>
          <p:nvPr/>
        </p:nvSpPr>
        <p:spPr bwMode="auto">
          <a:xfrm>
            <a:off x="7836501" y="3685039"/>
            <a:ext cx="2294667" cy="17220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HUE Resiliency</a:t>
            </a:r>
          </a:p>
        </p:txBody>
      </p:sp>
      <p:sp>
        <p:nvSpPr>
          <p:cNvPr id="18" name="Pentagon 51">
            <a:hlinkClick r:id="" action="ppaction://noaction"/>
            <a:extLst>
              <a:ext uri="{FF2B5EF4-FFF2-40B4-BE49-F238E27FC236}">
                <a16:creationId xmlns:a16="http://schemas.microsoft.com/office/drawing/2014/main" id="{4AA8062D-9FB2-4C16-3448-13DEB9AD80CD}"/>
              </a:ext>
            </a:extLst>
          </p:cNvPr>
          <p:cNvSpPr/>
          <p:nvPr/>
        </p:nvSpPr>
        <p:spPr bwMode="auto">
          <a:xfrm>
            <a:off x="1383029" y="4114800"/>
            <a:ext cx="1447801" cy="181983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DPI Users Migration</a:t>
            </a:r>
          </a:p>
        </p:txBody>
      </p:sp>
      <p:sp>
        <p:nvSpPr>
          <p:cNvPr id="30" name="Pentagon 11">
            <a:hlinkClick r:id="" action="ppaction://noaction"/>
            <a:extLst>
              <a:ext uri="{FF2B5EF4-FFF2-40B4-BE49-F238E27FC236}">
                <a16:creationId xmlns:a16="http://schemas.microsoft.com/office/drawing/2014/main" id="{B3DA7518-8B22-3E6F-6147-FB3B7FA40073}"/>
              </a:ext>
            </a:extLst>
          </p:cNvPr>
          <p:cNvSpPr/>
          <p:nvPr/>
        </p:nvSpPr>
        <p:spPr bwMode="auto">
          <a:xfrm>
            <a:off x="2819400" y="4344875"/>
            <a:ext cx="2718553" cy="174775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PayPal Forward" charset="0"/>
              </a:rPr>
              <a:t>ANAH Users Migration</a:t>
            </a:r>
          </a:p>
        </p:txBody>
      </p:sp>
    </p:spTree>
    <p:extLst>
      <p:ext uri="{BB962C8B-B14F-4D97-AF65-F5344CB8AC3E}">
        <p14:creationId xmlns:p14="http://schemas.microsoft.com/office/powerpoint/2010/main" val="331020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YL29051_template_16x9_N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PYL">
      <a:majorFont>
        <a:latin typeface="PayPal Sans Big"/>
        <a:ea typeface=""/>
        <a:cs typeface=""/>
      </a:majorFont>
      <a:minorFont>
        <a:latin typeface="PayPal Sans Big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48066</TotalTime>
  <Words>69</Words>
  <Application>Microsoft Office PowerPoint</Application>
  <PresentationFormat>Widescreen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PayPal Forward</vt:lpstr>
      <vt:lpstr>PayPal Sans Big</vt:lpstr>
      <vt:lpstr>PayPal Sans Big Light</vt:lpstr>
      <vt:lpstr>PayPal Sans Big Thin</vt:lpstr>
      <vt:lpstr>PYL29051_template_16x9_N</vt:lpstr>
      <vt:lpstr>think-cell Slide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iesW</dc:creator>
  <cp:lastModifiedBy>Alok Agarwal</cp:lastModifiedBy>
  <cp:revision>3458</cp:revision>
  <cp:lastPrinted>2016-07-05T22:16:22Z</cp:lastPrinted>
  <dcterms:created xsi:type="dcterms:W3CDTF">2015-08-14T15:23:08Z</dcterms:created>
  <dcterms:modified xsi:type="dcterms:W3CDTF">2023-07-20T16:35:37Z</dcterms:modified>
</cp:coreProperties>
</file>